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57" r:id="rId6"/>
  </p:sldIdLst>
  <p:sldSz cx="12192000" cy="6858000"/>
  <p:notesSz cx="6858000" cy="9144000"/>
  <p:custDataLst>
    <p:tags r:id="rId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643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Hirsch" userId="b62919eb-8630-4439-b4b5-05192206f284" providerId="ADAL" clId="{2B6B3751-4E27-4002-B05D-E90BE98EE41F}"/>
    <pc:docChg chg="undo modSld">
      <pc:chgData name="David Hirsch" userId="b62919eb-8630-4439-b4b5-05192206f284" providerId="ADAL" clId="{2B6B3751-4E27-4002-B05D-E90BE98EE41F}" dt="2019-01-21T12:32:37.421" v="124" actId="1038"/>
      <pc:docMkLst>
        <pc:docMk/>
      </pc:docMkLst>
      <pc:sldChg chg="modSp">
        <pc:chgData name="David Hirsch" userId="b62919eb-8630-4439-b4b5-05192206f284" providerId="ADAL" clId="{2B6B3751-4E27-4002-B05D-E90BE98EE41F}" dt="2019-01-21T12:32:37.421" v="124" actId="1038"/>
        <pc:sldMkLst>
          <pc:docMk/>
          <pc:sldMk cId="337523924" sldId="257"/>
        </pc:sldMkLst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4" creationId="{6AF9746D-4532-4609-9CEB-E0FD9B3B4313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6" creationId="{89C46EAF-8062-48D2-9311-EF0DAA8F2B65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7" creationId="{4AE60CF9-FE04-4EEF-BB33-D663ECA066AA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13" creationId="{6C064FDC-93EF-4C86-845F-B0D01D7E07A0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14" creationId="{764048E2-8392-43E1-8AB7-7362FCE0F902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15" creationId="{4BD53B51-24BB-4D13-8A52-E58594BFC96E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23" creationId="{D2F5F51A-ED13-4F4A-B4EC-C180A4856DDF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24" creationId="{E00031E0-D762-4B5E-82D6-D28A5B7FCF2E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25" creationId="{7D5E8546-E2B7-4309-8106-58C30302F232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29" creationId="{0AA631F1-DFD4-4B71-8647-936143E2D427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31" creationId="{77D5C47F-426E-4653-A6E9-D0C6544196C1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35" creationId="{8C90D2BB-FEE2-4953-A577-7B18FDD69C79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36" creationId="{6E86B6DC-61BD-4054-AE95-AE71BA3C1B8B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37" creationId="{85676BF1-AAA6-4CEB-8830-C5E08380FB65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38" creationId="{52CE6955-2040-4C56-A2D9-87EED2F718F9}"/>
          </ac:spMkLst>
        </pc:spChg>
        <pc:spChg chg="mod">
          <ac:chgData name="David Hirsch" userId="b62919eb-8630-4439-b4b5-05192206f284" providerId="ADAL" clId="{2B6B3751-4E27-4002-B05D-E90BE98EE41F}" dt="2019-01-21T12:32:37.421" v="124" actId="1038"/>
          <ac:spMkLst>
            <pc:docMk/>
            <pc:sldMk cId="337523924" sldId="257"/>
            <ac:spMk id="39" creationId="{C635B24A-FB80-4A13-A856-E901E9D0C7DB}"/>
          </ac:spMkLst>
        </pc:spChg>
        <pc:graphicFrameChg chg="mod">
          <ac:chgData name="David Hirsch" userId="b62919eb-8630-4439-b4b5-05192206f284" providerId="ADAL" clId="{2B6B3751-4E27-4002-B05D-E90BE98EE41F}" dt="2019-01-21T12:32:37.421" v="124" actId="1038"/>
          <ac:graphicFrameMkLst>
            <pc:docMk/>
            <pc:sldMk cId="337523924" sldId="257"/>
            <ac:graphicFrameMk id="26" creationId="{19211B00-C596-45FB-A500-1EE98A41682C}"/>
          </ac:graphicFrameMkLst>
        </pc:graphicFrameChg>
        <pc:graphicFrameChg chg="mod">
          <ac:chgData name="David Hirsch" userId="b62919eb-8630-4439-b4b5-05192206f284" providerId="ADAL" clId="{2B6B3751-4E27-4002-B05D-E90BE98EE41F}" dt="2019-01-21T12:32:37.421" v="124" actId="1038"/>
          <ac:graphicFrameMkLst>
            <pc:docMk/>
            <pc:sldMk cId="337523924" sldId="257"/>
            <ac:graphicFrameMk id="27" creationId="{E75AB6C6-FE4C-4B90-924A-D15BEF9F58A0}"/>
          </ac:graphicFrameMkLst>
        </pc:graphicFrameChg>
        <pc:graphicFrameChg chg="mod">
          <ac:chgData name="David Hirsch" userId="b62919eb-8630-4439-b4b5-05192206f284" providerId="ADAL" clId="{2B6B3751-4E27-4002-B05D-E90BE98EE41F}" dt="2019-01-21T12:32:37.421" v="124" actId="1038"/>
          <ac:graphicFrameMkLst>
            <pc:docMk/>
            <pc:sldMk cId="337523924" sldId="257"/>
            <ac:graphicFrameMk id="28" creationId="{8C7FE68B-C6EA-4C98-895D-8DC06447165B}"/>
          </ac:graphicFrameMkLst>
        </pc:graphicFrameChg>
        <pc:graphicFrameChg chg="mod">
          <ac:chgData name="David Hirsch" userId="b62919eb-8630-4439-b4b5-05192206f284" providerId="ADAL" clId="{2B6B3751-4E27-4002-B05D-E90BE98EE41F}" dt="2019-01-21T12:32:37.421" v="124" actId="1038"/>
          <ac:graphicFrameMkLst>
            <pc:docMk/>
            <pc:sldMk cId="337523924" sldId="257"/>
            <ac:graphicFrameMk id="30" creationId="{24F9D0F9-5736-47B8-AF7E-59B5FE6AD2A8}"/>
          </ac:graphicFrameMkLst>
        </pc:graphicFrameChg>
        <pc:graphicFrameChg chg="mod">
          <ac:chgData name="David Hirsch" userId="b62919eb-8630-4439-b4b5-05192206f284" providerId="ADAL" clId="{2B6B3751-4E27-4002-B05D-E90BE98EE41F}" dt="2019-01-21T12:32:37.421" v="124" actId="1038"/>
          <ac:graphicFrameMkLst>
            <pc:docMk/>
            <pc:sldMk cId="337523924" sldId="257"/>
            <ac:graphicFrameMk id="32" creationId="{EE3B416B-FAB9-4C63-896D-97165B7626A1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C16458B-4779-4462-AD21-1C167025CF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041D20C2-0CB2-424B-A7E8-0512215A14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FB0A18-3164-402C-8908-F7F8F8DDAC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D1C5B-B720-4852-9203-387CFFC703B3}" type="datetimeFigureOut">
              <a:rPr lang="fr-FR" smtClean="0"/>
              <a:t>21/01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BB09B1-1FF8-403C-B507-9FB1E8C472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5534A42-6733-4785-96AE-598A36A19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28F52-734C-4FD4-99F2-884F9DEFFF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51879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D60D372-9710-4044-9C5F-982C17E1A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AE878444-0ED2-4A29-A07B-B79C9680BC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BDE0C0E-5D37-4073-A17A-E0F0677C9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D1C5B-B720-4852-9203-387CFFC703B3}" type="datetimeFigureOut">
              <a:rPr lang="fr-FR" smtClean="0"/>
              <a:t>21/01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42E5762-27CE-4812-9DC5-13B7CF679B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D667648-22CF-4B88-A56C-F8DB91946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28F52-734C-4FD4-99F2-884F9DEFFF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146565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E8EE59E4-A1BA-4A3F-853C-5F8B2977B4F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1F082E2B-C6A6-41EC-9C12-8876D33634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7966F8A-985F-46D5-A6FA-17E01B356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D1C5B-B720-4852-9203-387CFFC703B3}" type="datetimeFigureOut">
              <a:rPr lang="fr-FR" smtClean="0"/>
              <a:t>21/01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D20E23B-8F57-490A-9858-3864A566E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EC0E091-0B3C-4C19-B5BF-57FEC88CD4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28F52-734C-4FD4-99F2-884F9DEFFF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617482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6D56169-E98E-4205-BB6E-53D2C082D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326B5C7-5A80-48A7-A7A6-E89CAF35DD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E934575-6C63-4358-999D-116EF6167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D1C5B-B720-4852-9203-387CFFC703B3}" type="datetimeFigureOut">
              <a:rPr lang="fr-FR" smtClean="0"/>
              <a:t>21/01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135B31A-397A-4C7B-874C-4C06CBB35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ED9D3F3-A12D-491F-9D7B-24B17F8AD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28F52-734C-4FD4-99F2-884F9DEFFF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4447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1D1DD2A-D80F-415A-A70D-338C56AC5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73391CC-9ECA-4725-BC17-F70D7390AB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B48AB0-A6C8-4592-B05C-1C8E50F779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D1C5B-B720-4852-9203-387CFFC703B3}" type="datetimeFigureOut">
              <a:rPr lang="fr-FR" smtClean="0"/>
              <a:t>21/01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FB2E096-0F87-425D-8E15-07B652E9E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191B25E-DEDF-4D4C-8631-977CCE703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28F52-734C-4FD4-99F2-884F9DEFFF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991630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34FDA96-4D22-4C21-A3CF-B81D36048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FB208FB-BDC3-4C64-B410-CF4EAC9E0F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D9DD4B08-670E-4CE7-AA6C-1450C55468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0A75B11-1727-46C2-AE72-BB63EDFC17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D1C5B-B720-4852-9203-387CFFC703B3}" type="datetimeFigureOut">
              <a:rPr lang="fr-FR" smtClean="0"/>
              <a:t>21/01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4FEF9F87-F232-4426-AAFF-EF8CF42DB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734DCE40-90CD-4C29-85E2-547E3CBEF6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28F52-734C-4FD4-99F2-884F9DEFFF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48948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6DD8769-F41B-4ED3-B7A2-DA4E05CBF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53A2C37-1773-439B-AB30-2DC2C28FDE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2A72531-7DD7-414E-BB48-556113489D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EC1A25D-E175-438A-9ACB-08DDE26E2A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F16ED4FF-AADB-44D2-8D2F-D0ED4B285E5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36D398C0-39E9-44E7-BA50-B3C374CB38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D1C5B-B720-4852-9203-387CFFC703B3}" type="datetimeFigureOut">
              <a:rPr lang="fr-FR" smtClean="0"/>
              <a:t>21/01/2019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06DDE7F-73D3-4B08-BB45-E7DF2E19C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DF4F1ACA-D86C-4969-A2AB-9925D20EA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28F52-734C-4FD4-99F2-884F9DEFFF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57096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27199D9-AA9A-42A6-A3D9-03DBAB4C8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5BF4C6E-F2B2-46B3-900F-860D3D50B2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D1C5B-B720-4852-9203-387CFFC703B3}" type="datetimeFigureOut">
              <a:rPr lang="fr-FR" smtClean="0"/>
              <a:t>21/01/2019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147FDF3-12C4-4AEC-BCA8-B70045831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A94CD52-DC9F-43C7-A523-95CE219ED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28F52-734C-4FD4-99F2-884F9DEFFF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46383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4BD6633-7372-4DA4-B444-56F64C247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D1C5B-B720-4852-9203-387CFFC703B3}" type="datetimeFigureOut">
              <a:rPr lang="fr-FR" smtClean="0"/>
              <a:t>21/01/2019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8B975CFF-C75A-47E2-9DB4-2BA559E65A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90BE5D1-A236-4292-9E00-40D4614C59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28F52-734C-4FD4-99F2-884F9DEFFF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11083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96222D5-2902-417A-84AD-54E548766F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C90C72B-AE3A-4313-8027-0C6989CFE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8C8657F-EA41-48BC-AFE6-26ED838946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699454F-39BF-4028-8D2D-82A662A6F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D1C5B-B720-4852-9203-387CFFC703B3}" type="datetimeFigureOut">
              <a:rPr lang="fr-FR" smtClean="0"/>
              <a:t>21/01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C87E4F3-AA9E-4467-922E-B342E9A385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6BB80CC-96CD-466C-A76F-DEA58CF58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28F52-734C-4FD4-99F2-884F9DEFFF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26757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F43AC0C-9B51-463C-9D06-541277CE7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FC9225B5-B220-4151-BA70-CD36E441B09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4FBE4A6-40B3-424A-A67A-1A34BA3C48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F5484C83-33CF-4F09-9E9B-611882D3A2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D1C5B-B720-4852-9203-387CFFC703B3}" type="datetimeFigureOut">
              <a:rPr lang="fr-FR" smtClean="0"/>
              <a:t>21/01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12A3DC5-8F17-4B02-A1E0-092014C9FC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6E2053D-7261-4E57-B1F7-44FBBAB07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28F52-734C-4FD4-99F2-884F9DEFFF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78326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9E3F06F0-AFB0-4DC7-B8E0-8F756B4D9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D2DB77E-DECB-4B9D-A4FA-E0BF95DA5D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3AEADDA-5E5A-434B-A741-66D32938C0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2D1C5B-B720-4852-9203-387CFFC703B3}" type="datetimeFigureOut">
              <a:rPr lang="fr-FR" smtClean="0"/>
              <a:t>21/01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8DF0177-81DA-498A-B480-72D2CC0F8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3249949-780F-44E5-9C1B-F7B90BA36E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728F52-734C-4FD4-99F2-884F9DEFFFE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66458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lasante.net/" TargetMode="External"/><Relationship Id="rId13" Type="http://schemas.openxmlformats.org/officeDocument/2006/relationships/hyperlink" Target="https://www.auchan.fr/parapharmacie/" TargetMode="External"/><Relationship Id="rId18" Type="http://schemas.openxmlformats.org/officeDocument/2006/relationships/hyperlink" Target="http://www.parapharmacie.leclerc/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://pharma-gdd.com/" TargetMode="External"/><Relationship Id="rId12" Type="http://schemas.openxmlformats.org/officeDocument/2006/relationships/hyperlink" Target="http://santediscount.com/" TargetMode="External"/><Relationship Id="rId17" Type="http://schemas.openxmlformats.org/officeDocument/2006/relationships/hyperlink" Target="http://1001pharmacies.com/" TargetMode="External"/><Relationship Id="rId2" Type="http://schemas.openxmlformats.org/officeDocument/2006/relationships/tags" Target="../tags/tag4.xml"/><Relationship Id="rId16" Type="http://schemas.openxmlformats.org/officeDocument/2006/relationships/hyperlink" Target="http://pharmarket.com/" TargetMode="External"/><Relationship Id="rId20" Type="http://schemas.openxmlformats.org/officeDocument/2006/relationships/hyperlink" Target="https://pharmanity.com/" TargetMode="External"/><Relationship Id="rId1" Type="http://schemas.openxmlformats.org/officeDocument/2006/relationships/vmlDrawing" Target="../drawings/vmlDrawing2.vml"/><Relationship Id="rId6" Type="http://schemas.openxmlformats.org/officeDocument/2006/relationships/hyperlink" Target="http://doctipharma.fr/" TargetMode="External"/><Relationship Id="rId11" Type="http://schemas.openxmlformats.org/officeDocument/2006/relationships/hyperlink" Target="http://cocooncenter.com/" TargetMode="External"/><Relationship Id="rId5" Type="http://schemas.openxmlformats.org/officeDocument/2006/relationships/image" Target="../media/image1.emf"/><Relationship Id="rId15" Type="http://schemas.openxmlformats.org/officeDocument/2006/relationships/hyperlink" Target="http://newpharma.fr/" TargetMode="External"/><Relationship Id="rId10" Type="http://schemas.openxmlformats.org/officeDocument/2006/relationships/hyperlink" Target="http://easyparapharmacie.com/" TargetMode="External"/><Relationship Id="rId19" Type="http://schemas.openxmlformats.org/officeDocument/2006/relationships/hyperlink" Target="https://www.mesoigner.fr/" TargetMode="External"/><Relationship Id="rId4" Type="http://schemas.openxmlformats.org/officeDocument/2006/relationships/oleObject" Target="../embeddings/oleObject2.bin"/><Relationship Id="rId9" Type="http://schemas.openxmlformats.org/officeDocument/2006/relationships/hyperlink" Target="https://www.shop-pharmacie.fr/" TargetMode="External"/><Relationship Id="rId14" Type="http://schemas.openxmlformats.org/officeDocument/2006/relationships/hyperlink" Target="https://www.parashop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4671A29-8FD1-4406-8EA5-DAE995C26E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3353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5" imgW="499" imgH="499" progId="TCLayout.ActiveDocument.1">
                  <p:embed/>
                </p:oleObj>
              </mc:Choice>
              <mc:Fallback>
                <p:oleObj name="Diapositive think-cell" r:id="rId5" imgW="499" imgH="499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4671A29-8FD1-4406-8EA5-DAE995C26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0252BA6-A7EC-486E-813A-5F0FCD971F1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3D110B8-95FE-4478-9E7B-B4CC9C9DC5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EAN Matching </a:t>
            </a:r>
            <a:r>
              <a:rPr lang="fr-FR" dirty="0" err="1"/>
              <a:t>approach</a:t>
            </a:r>
            <a:r>
              <a:rPr lang="fr-FR" dirty="0"/>
              <a:t> </a:t>
            </a:r>
            <a:r>
              <a:rPr lang="fr-FR" dirty="0" err="1"/>
              <a:t>alignment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ABAABEE8-D9E4-4ED7-9091-56082DD3B0E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40648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FCFFA7D8-1FD7-4D7E-B023-5F29800257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3175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4" imgW="499" imgH="499" progId="TCLayout.ActiveDocument.1">
                  <p:embed/>
                </p:oleObj>
              </mc:Choice>
              <mc:Fallback>
                <p:oleObj name="Diapositive think-cell" r:id="rId4" imgW="499" imgH="499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FCFFA7D8-1FD7-4D7E-B023-5F29800257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AF9746D-4532-4609-9CEB-E0FD9B3B4313}"/>
              </a:ext>
            </a:extLst>
          </p:cNvPr>
          <p:cNvSpPr/>
          <p:nvPr/>
        </p:nvSpPr>
        <p:spPr>
          <a:xfrm>
            <a:off x="186619" y="248737"/>
            <a:ext cx="1670178" cy="886408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/>
              <a:t>EAN Code 13 / 7</a:t>
            </a:r>
          </a:p>
          <a:p>
            <a:pPr algn="ctr"/>
            <a:r>
              <a:rPr lang="fr-FR" sz="1400" dirty="0" err="1"/>
              <a:t>Appears</a:t>
            </a:r>
            <a:r>
              <a:rPr lang="fr-FR" sz="1400" dirty="0"/>
              <a:t> as ite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C46EAF-8062-48D2-9311-EF0DAA8F2B65}"/>
              </a:ext>
            </a:extLst>
          </p:cNvPr>
          <p:cNvSpPr/>
          <p:nvPr/>
        </p:nvSpPr>
        <p:spPr>
          <a:xfrm>
            <a:off x="1940770" y="248737"/>
            <a:ext cx="1791480" cy="886408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/>
              <a:t>EAN Code </a:t>
            </a:r>
          </a:p>
          <a:p>
            <a:pPr algn="ctr"/>
            <a:r>
              <a:rPr lang="fr-FR" sz="1400" dirty="0"/>
              <a:t>in image file </a:t>
            </a:r>
            <a:r>
              <a:rPr lang="fr-FR" sz="1400" dirty="0" err="1"/>
              <a:t>title</a:t>
            </a:r>
            <a:r>
              <a:rPr lang="fr-FR" sz="1400" dirty="0"/>
              <a:t>, or in url (</a:t>
            </a:r>
            <a:r>
              <a:rPr lang="fr-FR" sz="1400" dirty="0" err="1"/>
              <a:t>sometimes</a:t>
            </a:r>
            <a:r>
              <a:rPr lang="fr-FR" sz="1400" dirty="0"/>
              <a:t> partial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C064FDC-93EF-4C86-845F-B0D01D7E07A0}"/>
              </a:ext>
            </a:extLst>
          </p:cNvPr>
          <p:cNvSpPr txBox="1"/>
          <p:nvPr/>
        </p:nvSpPr>
        <p:spPr>
          <a:xfrm>
            <a:off x="261264" y="5365996"/>
            <a:ext cx="356429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 err="1"/>
              <a:t>Extract</a:t>
            </a:r>
            <a:r>
              <a:rPr lang="fr-FR" sz="1400" b="1" dirty="0"/>
              <a:t> code </a:t>
            </a:r>
            <a:r>
              <a:rPr lang="fr-FR" sz="1400" b="1" dirty="0" err="1"/>
              <a:t>from</a:t>
            </a:r>
            <a:r>
              <a:rPr lang="fr-FR" sz="1400" b="1" dirty="0"/>
              <a:t> </a:t>
            </a:r>
            <a:r>
              <a:rPr lang="fr-FR" sz="1400" b="1" dirty="0" err="1"/>
              <a:t>attribute</a:t>
            </a:r>
            <a:r>
              <a:rPr lang="fr-FR" sz="1400" b="1" dirty="0"/>
              <a:t> / image </a:t>
            </a:r>
            <a:r>
              <a:rPr lang="fr-FR" sz="1400" b="1" dirty="0" err="1"/>
              <a:t>title</a:t>
            </a:r>
            <a:r>
              <a:rPr lang="fr-FR" sz="1400" b="1" dirty="0"/>
              <a:t> / url</a:t>
            </a:r>
          </a:p>
          <a:p>
            <a:pPr algn="ctr"/>
            <a:r>
              <a:rPr lang="fr-FR" sz="1400" dirty="0" err="1"/>
              <a:t>into</a:t>
            </a:r>
            <a:r>
              <a:rPr lang="fr-FR" sz="1400" dirty="0"/>
              <a:t> </a:t>
            </a:r>
            <a:r>
              <a:rPr lang="fr-FR" sz="1400" dirty="0" err="1"/>
              <a:t>either</a:t>
            </a:r>
            <a:r>
              <a:rPr lang="fr-FR" sz="1400" dirty="0"/>
              <a:t> ‘Code 13’ </a:t>
            </a:r>
          </a:p>
          <a:p>
            <a:pPr algn="ctr"/>
            <a:r>
              <a:rPr lang="fr-FR" sz="1400" dirty="0"/>
              <a:t>or ‘Code 7’ </a:t>
            </a:r>
            <a:r>
              <a:rPr lang="fr-FR" sz="1400" dirty="0" err="1"/>
              <a:t>attributes</a:t>
            </a:r>
            <a:r>
              <a:rPr lang="fr-FR" sz="1400" dirty="0"/>
              <a:t>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AE60CF9-FE04-4EEF-BB33-D663ECA066AA}"/>
              </a:ext>
            </a:extLst>
          </p:cNvPr>
          <p:cNvSpPr/>
          <p:nvPr/>
        </p:nvSpPr>
        <p:spPr>
          <a:xfrm>
            <a:off x="3853547" y="248737"/>
            <a:ext cx="8133185" cy="886408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/>
              <a:t>EAN Code </a:t>
            </a:r>
          </a:p>
          <a:p>
            <a:pPr algn="ctr"/>
            <a:r>
              <a:rPr lang="fr-FR" sz="1400" dirty="0" err="1"/>
              <a:t>Does</a:t>
            </a:r>
            <a:r>
              <a:rPr lang="fr-FR" sz="1400" dirty="0"/>
              <a:t> not </a:t>
            </a:r>
            <a:r>
              <a:rPr lang="fr-FR" sz="1400" dirty="0" err="1"/>
              <a:t>appear</a:t>
            </a:r>
            <a:endParaRPr lang="fr-FR" sz="14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64048E2-8392-43E1-8AB7-7362FCE0F902}"/>
              </a:ext>
            </a:extLst>
          </p:cNvPr>
          <p:cNvSpPr txBox="1"/>
          <p:nvPr/>
        </p:nvSpPr>
        <p:spPr>
          <a:xfrm>
            <a:off x="4105476" y="1418235"/>
            <a:ext cx="3806510" cy="350083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>
              <a:defRPr sz="14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dirty="0" err="1"/>
              <a:t>Website</a:t>
            </a:r>
            <a:r>
              <a:rPr lang="fr-FR" dirty="0"/>
              <a:t> </a:t>
            </a:r>
            <a:r>
              <a:rPr lang="fr-FR" b="1" dirty="0" err="1"/>
              <a:t>search</a:t>
            </a:r>
            <a:r>
              <a:rPr lang="fr-FR" b="1" dirty="0"/>
              <a:t> engine responsive</a:t>
            </a:r>
            <a:r>
              <a:rPr lang="fr-FR" dirty="0"/>
              <a:t> </a:t>
            </a:r>
          </a:p>
          <a:p>
            <a:r>
              <a:rPr lang="fr-FR" dirty="0"/>
              <a:t>to EAN Code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4BD53B51-24BB-4D13-8A52-E58594BFC96E}"/>
              </a:ext>
            </a:extLst>
          </p:cNvPr>
          <p:cNvSpPr txBox="1"/>
          <p:nvPr/>
        </p:nvSpPr>
        <p:spPr>
          <a:xfrm>
            <a:off x="8180222" y="1418235"/>
            <a:ext cx="3806510" cy="3500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>
              <a:defRPr sz="14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dirty="0" err="1"/>
              <a:t>Website</a:t>
            </a:r>
            <a:r>
              <a:rPr lang="fr-FR" dirty="0"/>
              <a:t> </a:t>
            </a:r>
            <a:r>
              <a:rPr lang="fr-FR" b="1" dirty="0" err="1"/>
              <a:t>search</a:t>
            </a:r>
            <a:r>
              <a:rPr lang="fr-FR" b="1" dirty="0"/>
              <a:t> engine NOT responsive</a:t>
            </a:r>
            <a:r>
              <a:rPr lang="fr-FR" dirty="0"/>
              <a:t> </a:t>
            </a:r>
          </a:p>
          <a:p>
            <a:r>
              <a:rPr lang="fr-FR" dirty="0"/>
              <a:t>to EAN Cod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2F5F51A-ED13-4F4A-B4EC-C180A4856DDF}"/>
              </a:ext>
            </a:extLst>
          </p:cNvPr>
          <p:cNvSpPr/>
          <p:nvPr/>
        </p:nvSpPr>
        <p:spPr>
          <a:xfrm>
            <a:off x="186620" y="46647"/>
            <a:ext cx="1670178" cy="17727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i="1" dirty="0">
                <a:solidFill>
                  <a:schemeClr val="tx2"/>
                </a:solidFill>
              </a:rPr>
              <a:t>15 </a:t>
            </a:r>
            <a:r>
              <a:rPr lang="fr-FR" sz="1400" i="1" dirty="0" err="1">
                <a:solidFill>
                  <a:schemeClr val="tx2"/>
                </a:solidFill>
              </a:rPr>
              <a:t>templates</a:t>
            </a:r>
            <a:endParaRPr lang="fr-FR" sz="1400" i="1" dirty="0">
              <a:solidFill>
                <a:schemeClr val="tx2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00031E0-D762-4B5E-82D6-D28A5B7FCF2E}"/>
              </a:ext>
            </a:extLst>
          </p:cNvPr>
          <p:cNvSpPr/>
          <p:nvPr/>
        </p:nvSpPr>
        <p:spPr>
          <a:xfrm>
            <a:off x="3853547" y="46647"/>
            <a:ext cx="8133185" cy="17727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i="1" dirty="0">
                <a:solidFill>
                  <a:schemeClr val="tx2"/>
                </a:solidFill>
              </a:rPr>
              <a:t>22 </a:t>
            </a:r>
            <a:r>
              <a:rPr lang="fr-FR" sz="1400" i="1" dirty="0" err="1">
                <a:solidFill>
                  <a:schemeClr val="tx2"/>
                </a:solidFill>
              </a:rPr>
              <a:t>templates</a:t>
            </a:r>
            <a:endParaRPr lang="fr-FR" sz="1400" i="1" dirty="0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D5E8546-E2B7-4309-8106-58C30302F232}"/>
              </a:ext>
            </a:extLst>
          </p:cNvPr>
          <p:cNvSpPr/>
          <p:nvPr/>
        </p:nvSpPr>
        <p:spPr>
          <a:xfrm>
            <a:off x="1940769" y="46647"/>
            <a:ext cx="1791479" cy="17727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i="1" dirty="0">
                <a:solidFill>
                  <a:schemeClr val="tx2"/>
                </a:solidFill>
              </a:rPr>
              <a:t>9 </a:t>
            </a:r>
            <a:r>
              <a:rPr lang="fr-FR" sz="1400" i="1" dirty="0" err="1">
                <a:solidFill>
                  <a:schemeClr val="tx2"/>
                </a:solidFill>
              </a:rPr>
              <a:t>templates</a:t>
            </a:r>
            <a:endParaRPr lang="fr-FR" sz="1400" i="1" dirty="0">
              <a:solidFill>
                <a:schemeClr val="tx2"/>
              </a:solidFill>
            </a:endParaRPr>
          </a:p>
        </p:txBody>
      </p:sp>
      <p:graphicFrame>
        <p:nvGraphicFramePr>
          <p:cNvPr id="26" name="Tableau 25">
            <a:extLst>
              <a:ext uri="{FF2B5EF4-FFF2-40B4-BE49-F238E27FC236}">
                <a16:creationId xmlns:a16="http://schemas.microsoft.com/office/drawing/2014/main" id="{19211B00-C596-45FB-A500-1EE98A4168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1517937"/>
              </p:ext>
            </p:extLst>
          </p:nvPr>
        </p:nvGraphicFramePr>
        <p:xfrm>
          <a:off x="2052738" y="1845589"/>
          <a:ext cx="1576877" cy="10972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6877">
                  <a:extLst>
                    <a:ext uri="{9D8B030D-6E8A-4147-A177-3AD203B41FA5}">
                      <a16:colId xmlns:a16="http://schemas.microsoft.com/office/drawing/2014/main" val="718422883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harmonWeb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5304516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harmavie with login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6234514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MeSoigner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29091495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sng" strike="noStrike">
                          <a:effectLst/>
                          <a:hlinkClick r:id="rId6"/>
                        </a:rPr>
                        <a:t>Doctipharma.fr</a:t>
                      </a:r>
                      <a:endParaRPr lang="fr-FR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2732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harmactiv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72907965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 err="1">
                          <a:effectLst/>
                        </a:rPr>
                        <a:t>Astera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23543716"/>
                  </a:ext>
                </a:extLst>
              </a:tr>
            </a:tbl>
          </a:graphicData>
        </a:graphic>
      </p:graphicFrame>
      <p:graphicFrame>
        <p:nvGraphicFramePr>
          <p:cNvPr id="27" name="Tableau 26">
            <a:extLst>
              <a:ext uri="{FF2B5EF4-FFF2-40B4-BE49-F238E27FC236}">
                <a16:creationId xmlns:a16="http://schemas.microsoft.com/office/drawing/2014/main" id="{E75AB6C6-FE4C-4B90-924A-D15BEF9F58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1431772"/>
              </p:ext>
            </p:extLst>
          </p:nvPr>
        </p:nvGraphicFramePr>
        <p:xfrm>
          <a:off x="2052738" y="3009373"/>
          <a:ext cx="1576877" cy="548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6877">
                  <a:extLst>
                    <a:ext uri="{9D8B030D-6E8A-4147-A177-3AD203B41FA5}">
                      <a16:colId xmlns:a16="http://schemas.microsoft.com/office/drawing/2014/main" val="416374124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Univers Pharmacie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3207768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Leader Santé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216843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 err="1">
                          <a:effectLst/>
                        </a:rPr>
                        <a:t>Decaroli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15171452"/>
                  </a:ext>
                </a:extLst>
              </a:tr>
            </a:tbl>
          </a:graphicData>
        </a:graphic>
      </p:graphicFrame>
      <p:graphicFrame>
        <p:nvGraphicFramePr>
          <p:cNvPr id="28" name="Tableau 27">
            <a:extLst>
              <a:ext uri="{FF2B5EF4-FFF2-40B4-BE49-F238E27FC236}">
                <a16:creationId xmlns:a16="http://schemas.microsoft.com/office/drawing/2014/main" id="{8C7FE68B-C6EA-4C98-895D-8DC0644716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2068789"/>
              </p:ext>
            </p:extLst>
          </p:nvPr>
        </p:nvGraphicFramePr>
        <p:xfrm>
          <a:off x="242606" y="1835893"/>
          <a:ext cx="1576878" cy="3048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6878">
                  <a:extLst>
                    <a:ext uri="{9D8B030D-6E8A-4147-A177-3AD203B41FA5}">
                      <a16:colId xmlns:a16="http://schemas.microsoft.com/office/drawing/2014/main" val="153551116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Lafayette (1)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4734947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Lafayette (2)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399532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GPO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424611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Boticinal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87843978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Coopérative Objectif Santé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71512201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harmaBest Praden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88460222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sng" strike="noStrike">
                          <a:effectLst/>
                          <a:hlinkClick r:id="rId7"/>
                        </a:rPr>
                        <a:t>Pharma-gdd.com</a:t>
                      </a:r>
                      <a:endParaRPr lang="fr-FR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7242887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sng" strike="noStrike">
                          <a:effectLst/>
                          <a:hlinkClick r:id="rId8"/>
                        </a:rPr>
                        <a:t>Lasante.net</a:t>
                      </a:r>
                      <a:endParaRPr lang="fr-FR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74182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sng" strike="noStrike">
                          <a:effectLst/>
                          <a:hlinkClick r:id="rId9"/>
                        </a:rPr>
                        <a:t>https://www.shop-pharmacie.fr</a:t>
                      </a:r>
                      <a:endParaRPr lang="fr-FR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2537847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sng" strike="noStrike">
                          <a:effectLst/>
                          <a:hlinkClick r:id="rId10"/>
                        </a:rPr>
                        <a:t>Easyparapharmacie.com</a:t>
                      </a:r>
                      <a:endParaRPr lang="fr-FR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5119608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sng" strike="noStrike">
                          <a:effectLst/>
                          <a:hlinkClick r:id="rId11"/>
                        </a:rPr>
                        <a:t>Cocooncenter.com</a:t>
                      </a:r>
                      <a:endParaRPr lang="fr-FR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553368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sng" strike="noStrike">
                          <a:effectLst/>
                          <a:hlinkClick r:id="rId12"/>
                        </a:rPr>
                        <a:t>Santediscount.com</a:t>
                      </a:r>
                      <a:endParaRPr lang="fr-FR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1845100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sng" strike="noStrike">
                          <a:effectLst/>
                          <a:hlinkClick r:id="rId13"/>
                        </a:rPr>
                        <a:t>https://www.auchan.fr/parapharmacie/</a:t>
                      </a:r>
                      <a:endParaRPr lang="fr-FR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1199951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Maxi Pharma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02957587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sng" strike="noStrike" dirty="0">
                          <a:effectLst/>
                          <a:hlinkClick r:id="rId14"/>
                        </a:rPr>
                        <a:t>Parashop.com</a:t>
                      </a:r>
                      <a:endParaRPr lang="fr-FR" sz="11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964943796"/>
                  </a:ext>
                </a:extLst>
              </a:tr>
            </a:tbl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0AA631F1-DFD4-4B71-8647-936143E2D427}"/>
              </a:ext>
            </a:extLst>
          </p:cNvPr>
          <p:cNvSpPr/>
          <p:nvPr/>
        </p:nvSpPr>
        <p:spPr>
          <a:xfrm>
            <a:off x="8180222" y="1194301"/>
            <a:ext cx="3806510" cy="18570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i="1" dirty="0">
                <a:solidFill>
                  <a:schemeClr val="tx2"/>
                </a:solidFill>
              </a:rPr>
              <a:t>8 </a:t>
            </a:r>
            <a:r>
              <a:rPr lang="fr-FR" sz="1400" i="1" dirty="0" err="1">
                <a:solidFill>
                  <a:schemeClr val="tx2"/>
                </a:solidFill>
              </a:rPr>
              <a:t>templates</a:t>
            </a:r>
            <a:endParaRPr lang="fr-FR" sz="1400" i="1" dirty="0">
              <a:solidFill>
                <a:schemeClr val="tx2"/>
              </a:solidFill>
            </a:endParaRPr>
          </a:p>
        </p:txBody>
      </p:sp>
      <p:graphicFrame>
        <p:nvGraphicFramePr>
          <p:cNvPr id="30" name="Tableau 29">
            <a:extLst>
              <a:ext uri="{FF2B5EF4-FFF2-40B4-BE49-F238E27FC236}">
                <a16:creationId xmlns:a16="http://schemas.microsoft.com/office/drawing/2014/main" id="{24F9D0F9-5736-47B8-AF7E-59B5FE6AD2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8259121"/>
              </p:ext>
            </p:extLst>
          </p:nvPr>
        </p:nvGraphicFramePr>
        <p:xfrm>
          <a:off x="8814323" y="1845589"/>
          <a:ext cx="2531706" cy="1280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31706">
                  <a:extLst>
                    <a:ext uri="{9D8B030D-6E8A-4147-A177-3AD203B41FA5}">
                      <a16:colId xmlns:a16="http://schemas.microsoft.com/office/drawing/2014/main" val="1097929313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harmanity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1329786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Gulliver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96298667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 err="1">
                          <a:effectLst/>
                        </a:rPr>
                        <a:t>Aprium</a:t>
                      </a:r>
                      <a:r>
                        <a:rPr lang="fr-FR" sz="1100" u="none" strike="noStrike" dirty="0">
                          <a:effectLst/>
                        </a:rPr>
                        <a:t> (&amp; Monge)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2659829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harmaBest Prado 1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878643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harmaBest Prado 2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19053375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>
                          <a:effectLst/>
                        </a:rPr>
                        <a:t>Groupe Univers Pharmacie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863795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sng" strike="noStrike" dirty="0">
                          <a:effectLst/>
                          <a:hlinkClick r:id="rId15"/>
                        </a:rPr>
                        <a:t>Newpharma.fr</a:t>
                      </a:r>
                      <a:endParaRPr lang="fr-FR" sz="11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93894168"/>
                  </a:ext>
                </a:extLst>
              </a:tr>
            </a:tbl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77D5C47F-426E-4653-A6E9-D0C6544196C1}"/>
              </a:ext>
            </a:extLst>
          </p:cNvPr>
          <p:cNvSpPr/>
          <p:nvPr/>
        </p:nvSpPr>
        <p:spPr>
          <a:xfrm>
            <a:off x="4105476" y="1194301"/>
            <a:ext cx="3806510" cy="18570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i="1" dirty="0">
                <a:solidFill>
                  <a:schemeClr val="tx2"/>
                </a:solidFill>
              </a:rPr>
              <a:t>14 </a:t>
            </a:r>
            <a:r>
              <a:rPr lang="fr-FR" sz="1400" i="1" dirty="0" err="1">
                <a:solidFill>
                  <a:schemeClr val="tx2"/>
                </a:solidFill>
              </a:rPr>
              <a:t>templates</a:t>
            </a:r>
            <a:endParaRPr lang="fr-FR" sz="1400" i="1" dirty="0">
              <a:solidFill>
                <a:schemeClr val="tx2"/>
              </a:solidFill>
            </a:endParaRPr>
          </a:p>
        </p:txBody>
      </p:sp>
      <p:graphicFrame>
        <p:nvGraphicFramePr>
          <p:cNvPr id="32" name="Tableau 31">
            <a:extLst>
              <a:ext uri="{FF2B5EF4-FFF2-40B4-BE49-F238E27FC236}">
                <a16:creationId xmlns:a16="http://schemas.microsoft.com/office/drawing/2014/main" id="{EE3B416B-FAB9-4C63-896D-97165B7626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7622268"/>
              </p:ext>
            </p:extLst>
          </p:nvPr>
        </p:nvGraphicFramePr>
        <p:xfrm>
          <a:off x="4332331" y="1835893"/>
          <a:ext cx="3352800" cy="25603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52800">
                  <a:extLst>
                    <a:ext uri="{9D8B030D-6E8A-4147-A177-3AD203B41FA5}">
                      <a16:colId xmlns:a16="http://schemas.microsoft.com/office/drawing/2014/main" val="3486475435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harmonWeb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87332546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harmavie with login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5893003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harmavie without login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6463917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MeSoigner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34102653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MeSoigner avec login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30852386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CityPharma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39950780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Elsie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0780271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harmaBest Amiens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49093777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sng" strike="noStrike">
                          <a:effectLst/>
                          <a:hlinkClick r:id="rId16"/>
                        </a:rPr>
                        <a:t>Pharmarket.com</a:t>
                      </a:r>
                      <a:endParaRPr lang="fr-FR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9277041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sng" strike="noStrike">
                          <a:effectLst/>
                          <a:hlinkClick r:id="rId17"/>
                        </a:rPr>
                        <a:t>1001pharmacies.com</a:t>
                      </a:r>
                      <a:endParaRPr lang="fr-FR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0706703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sng" strike="noStrike">
                          <a:effectLst/>
                          <a:hlinkClick r:id="rId6"/>
                        </a:rPr>
                        <a:t>Doctipharma.fr</a:t>
                      </a:r>
                      <a:endParaRPr lang="fr-FR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1587594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u="sng" strike="noStrike">
                          <a:effectLst/>
                          <a:hlinkClick r:id="rId18"/>
                        </a:rPr>
                        <a:t>www.parapharmacie.leclerc</a:t>
                      </a:r>
                      <a:endParaRPr lang="fr-FR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115152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>
                          <a:effectLst/>
                        </a:rPr>
                        <a:t>Pharmactiv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07217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u="none" strike="noStrike" dirty="0" err="1">
                          <a:effectLst/>
                        </a:rPr>
                        <a:t>Astera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62855084"/>
                  </a:ext>
                </a:extLst>
              </a:tr>
            </a:tbl>
          </a:graphicData>
        </a:graphic>
      </p:graphicFrame>
      <p:sp>
        <p:nvSpPr>
          <p:cNvPr id="35" name="Triangle isocèle 34">
            <a:extLst>
              <a:ext uri="{FF2B5EF4-FFF2-40B4-BE49-F238E27FC236}">
                <a16:creationId xmlns:a16="http://schemas.microsoft.com/office/drawing/2014/main" id="{8C90D2BB-FEE2-4953-A577-7B18FDD69C79}"/>
              </a:ext>
            </a:extLst>
          </p:cNvPr>
          <p:cNvSpPr/>
          <p:nvPr/>
        </p:nvSpPr>
        <p:spPr>
          <a:xfrm rot="10800000">
            <a:off x="429213" y="4963867"/>
            <a:ext cx="3200402" cy="261258"/>
          </a:xfrm>
          <a:prstGeom prst="triangl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6E86B6DC-61BD-4054-AE95-AE71BA3C1B8B}"/>
              </a:ext>
            </a:extLst>
          </p:cNvPr>
          <p:cNvSpPr txBox="1"/>
          <p:nvPr/>
        </p:nvSpPr>
        <p:spPr>
          <a:xfrm>
            <a:off x="3848679" y="5365996"/>
            <a:ext cx="4399581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>
              <a:buAutoNum type="arabicPeriod"/>
            </a:pPr>
            <a:r>
              <a:rPr lang="en-US" sz="1400" b="1" dirty="0"/>
              <a:t>EAN matching through queries in search engine, with list of references provided (89K)</a:t>
            </a:r>
          </a:p>
          <a:p>
            <a:pPr marL="93663" indent="-93663" algn="ctr">
              <a:buFont typeface="Arial" panose="020B0604020202020204" pitchFamily="34" charset="0"/>
              <a:buChar char="•"/>
            </a:pPr>
            <a:r>
              <a:rPr lang="en-US" sz="1400" dirty="0"/>
              <a:t>using mother websites for </a:t>
            </a:r>
            <a:r>
              <a:rPr lang="en-US" sz="1400" dirty="0" err="1"/>
              <a:t>MeSoigner</a:t>
            </a:r>
            <a:r>
              <a:rPr lang="en-US" sz="1400" dirty="0"/>
              <a:t> &amp; </a:t>
            </a:r>
            <a:r>
              <a:rPr lang="en-US" sz="1400" dirty="0" err="1"/>
              <a:t>Pharmanity</a:t>
            </a:r>
            <a:r>
              <a:rPr lang="en-US" sz="1400" dirty="0"/>
              <a:t>? </a:t>
            </a:r>
            <a:r>
              <a:rPr lang="en-US" sz="1400" dirty="0">
                <a:hlinkClick r:id="rId19"/>
              </a:rPr>
              <a:t>https://www.mesoigner.fr</a:t>
            </a:r>
            <a:r>
              <a:rPr lang="en-US" sz="1400" dirty="0"/>
              <a:t> ; </a:t>
            </a:r>
            <a:r>
              <a:rPr lang="en-US" sz="1400" dirty="0">
                <a:hlinkClick r:id="rId20"/>
              </a:rPr>
              <a:t>https://pharmanity.com</a:t>
            </a:r>
            <a:endParaRPr lang="en-US" sz="1400" dirty="0"/>
          </a:p>
          <a:p>
            <a:pPr marL="93663" indent="-93663" algn="ctr">
              <a:buFont typeface="Arial" panose="020B0604020202020204" pitchFamily="34" charset="0"/>
              <a:buChar char="•"/>
            </a:pPr>
            <a:endParaRPr lang="en-US" sz="500" dirty="0"/>
          </a:p>
          <a:p>
            <a:pPr algn="ctr"/>
            <a:r>
              <a:rPr lang="en-US" sz="1400" b="1" dirty="0"/>
              <a:t>2. Image / Text matching vs. other site or Google</a:t>
            </a:r>
          </a:p>
          <a:p>
            <a:pPr marL="93663" indent="-93663" algn="ctr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37" name="Triangle isocèle 36">
            <a:extLst>
              <a:ext uri="{FF2B5EF4-FFF2-40B4-BE49-F238E27FC236}">
                <a16:creationId xmlns:a16="http://schemas.microsoft.com/office/drawing/2014/main" id="{85676BF1-AAA6-4CEB-8830-C5E08380FB65}"/>
              </a:ext>
            </a:extLst>
          </p:cNvPr>
          <p:cNvSpPr/>
          <p:nvPr/>
        </p:nvSpPr>
        <p:spPr>
          <a:xfrm rot="10800000">
            <a:off x="4408530" y="4963867"/>
            <a:ext cx="3200402" cy="261258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52CE6955-2040-4C56-A2D9-87EED2F718F9}"/>
              </a:ext>
            </a:extLst>
          </p:cNvPr>
          <p:cNvSpPr txBox="1"/>
          <p:nvPr/>
        </p:nvSpPr>
        <p:spPr>
          <a:xfrm>
            <a:off x="8644626" y="5365996"/>
            <a:ext cx="32004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Image / Text matching vs. other site or Google</a:t>
            </a:r>
            <a:endParaRPr lang="fr-FR" sz="1400" b="1" dirty="0"/>
          </a:p>
        </p:txBody>
      </p:sp>
      <p:sp>
        <p:nvSpPr>
          <p:cNvPr id="39" name="Triangle isocèle 38">
            <a:extLst>
              <a:ext uri="{FF2B5EF4-FFF2-40B4-BE49-F238E27FC236}">
                <a16:creationId xmlns:a16="http://schemas.microsoft.com/office/drawing/2014/main" id="{C635B24A-FB80-4A13-A856-E901E9D0C7DB}"/>
              </a:ext>
            </a:extLst>
          </p:cNvPr>
          <p:cNvSpPr/>
          <p:nvPr/>
        </p:nvSpPr>
        <p:spPr>
          <a:xfrm rot="10800000">
            <a:off x="8644626" y="4963867"/>
            <a:ext cx="3200402" cy="26125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7523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Ay_LnKRgetN6EPpm8o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AC8286555AC4D4298D605D8FCDAF05C" ma:contentTypeVersion="8" ma:contentTypeDescription="Crée un document." ma:contentTypeScope="" ma:versionID="41d8f3f52bf8a218ac94da7e79f24fa0">
  <xsd:schema xmlns:xsd="http://www.w3.org/2001/XMLSchema" xmlns:xs="http://www.w3.org/2001/XMLSchema" xmlns:p="http://schemas.microsoft.com/office/2006/metadata/properties" xmlns:ns2="470d242f-c0a6-4977-afda-357aa3f8dbed" xmlns:ns3="4173cb71-f8b7-4f09-88e6-9ab3822c99e0" targetNamespace="http://schemas.microsoft.com/office/2006/metadata/properties" ma:root="true" ma:fieldsID="993bb6a772bdb8064333dbc39aaee819" ns2:_="" ns3:_="">
    <xsd:import namespace="470d242f-c0a6-4977-afda-357aa3f8dbed"/>
    <xsd:import namespace="4173cb71-f8b7-4f09-88e6-9ab3822c99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0d242f-c0a6-4977-afda-357aa3f8db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73cb71-f8b7-4f09-88e6-9ab3822c99e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A0FC762-281E-4A1D-AD2E-3604CFB9C8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70d242f-c0a6-4977-afda-357aa3f8dbed"/>
    <ds:schemaRef ds:uri="4173cb71-f8b7-4f09-88e6-9ab3822c99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8E0DCC3-C3CC-4AF9-A9A2-86FD1DF2736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2227E16-7D52-4632-A594-C102A24E2CC5}">
  <ds:schemaRefs>
    <ds:schemaRef ds:uri="http://purl.org/dc/terms/"/>
    <ds:schemaRef ds:uri="http://purl.org/dc/dcmitype/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documentManagement/types"/>
    <ds:schemaRef ds:uri="4173cb71-f8b7-4f09-88e6-9ab3822c99e0"/>
    <ds:schemaRef ds:uri="http://schemas.microsoft.com/office/2006/metadata/properties"/>
    <ds:schemaRef ds:uri="http://schemas.openxmlformats.org/package/2006/metadata/core-properties"/>
    <ds:schemaRef ds:uri="470d242f-c0a6-4977-afda-357aa3f8dbe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252</Words>
  <Application>Microsoft Office PowerPoint</Application>
  <PresentationFormat>Grand écran</PresentationFormat>
  <Paragraphs>69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Thème Office</vt:lpstr>
      <vt:lpstr>Diapositive think-cell</vt:lpstr>
      <vt:lpstr>EAN Matching approach alignme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AN Matching approach alignment</dc:title>
  <dc:creator>David Hirsch</dc:creator>
  <cp:lastModifiedBy>David Hirsch</cp:lastModifiedBy>
  <cp:revision>5</cp:revision>
  <dcterms:created xsi:type="dcterms:W3CDTF">2019-01-21T11:54:31Z</dcterms:created>
  <dcterms:modified xsi:type="dcterms:W3CDTF">2019-01-21T12:3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C8286555AC4D4298D605D8FCDAF05C</vt:lpwstr>
  </property>
</Properties>
</file>